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  <p:sldId id="258" r:id="rId3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0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z, Julia" userId="6a64a120-4934-4328-ae96-bff4369aa614" providerId="ADAL" clId="{938AE7AA-7E8E-4278-BEBC-0BD9B4855213}"/>
    <pc:docChg chg="modSld">
      <pc:chgData name="Janz, Julia" userId="6a64a120-4934-4328-ae96-bff4369aa614" providerId="ADAL" clId="{938AE7AA-7E8E-4278-BEBC-0BD9B4855213}" dt="2024-07-23T08:04:14.304" v="86" actId="20577"/>
      <pc:docMkLst>
        <pc:docMk/>
      </pc:docMkLst>
      <pc:sldChg chg="modSp mod">
        <pc:chgData name="Janz, Julia" userId="6a64a120-4934-4328-ae96-bff4369aa614" providerId="ADAL" clId="{938AE7AA-7E8E-4278-BEBC-0BD9B4855213}" dt="2024-07-23T08:04:14.304" v="86" actId="20577"/>
        <pc:sldMkLst>
          <pc:docMk/>
          <pc:sldMk cId="947185956" sldId="257"/>
        </pc:sldMkLst>
        <pc:spChg chg="mod">
          <ac:chgData name="Janz, Julia" userId="6a64a120-4934-4328-ae96-bff4369aa614" providerId="ADAL" clId="{938AE7AA-7E8E-4278-BEBC-0BD9B4855213}" dt="2024-07-23T07:58:24.253" v="55" actId="6549"/>
          <ac:spMkLst>
            <pc:docMk/>
            <pc:sldMk cId="947185956" sldId="257"/>
            <ac:spMk id="11" creationId="{85C3427F-0D97-125B-212C-8B8F8914C840}"/>
          </ac:spMkLst>
        </pc:spChg>
        <pc:spChg chg="mod">
          <ac:chgData name="Janz, Julia" userId="6a64a120-4934-4328-ae96-bff4369aa614" providerId="ADAL" clId="{938AE7AA-7E8E-4278-BEBC-0BD9B4855213}" dt="2024-07-23T08:03:56.228" v="85" actId="465"/>
          <ac:spMkLst>
            <pc:docMk/>
            <pc:sldMk cId="947185956" sldId="257"/>
            <ac:spMk id="13" creationId="{23CAB75A-8F69-11C3-EE5D-FAA172FF1A16}"/>
          </ac:spMkLst>
        </pc:spChg>
        <pc:spChg chg="mod">
          <ac:chgData name="Janz, Julia" userId="6a64a120-4934-4328-ae96-bff4369aa614" providerId="ADAL" clId="{938AE7AA-7E8E-4278-BEBC-0BD9B4855213}" dt="2024-07-23T08:03:56.228" v="85" actId="465"/>
          <ac:spMkLst>
            <pc:docMk/>
            <pc:sldMk cId="947185956" sldId="257"/>
            <ac:spMk id="14" creationId="{43C649B1-25FD-5234-A931-B36922059943}"/>
          </ac:spMkLst>
        </pc:spChg>
        <pc:spChg chg="mod">
          <ac:chgData name="Janz, Julia" userId="6a64a120-4934-4328-ae96-bff4369aa614" providerId="ADAL" clId="{938AE7AA-7E8E-4278-BEBC-0BD9B4855213}" dt="2024-07-23T08:03:56.228" v="85" actId="465"/>
          <ac:spMkLst>
            <pc:docMk/>
            <pc:sldMk cId="947185956" sldId="257"/>
            <ac:spMk id="15" creationId="{2EAF8B28-94ED-7B60-2128-CB457116C643}"/>
          </ac:spMkLst>
        </pc:spChg>
        <pc:spChg chg="mod">
          <ac:chgData name="Janz, Julia" userId="6a64a120-4934-4328-ae96-bff4369aa614" providerId="ADAL" clId="{938AE7AA-7E8E-4278-BEBC-0BD9B4855213}" dt="2024-07-23T08:04:14.304" v="86" actId="20577"/>
          <ac:spMkLst>
            <pc:docMk/>
            <pc:sldMk cId="947185956" sldId="257"/>
            <ac:spMk id="16" creationId="{4646F5F1-FFDD-76F0-5271-F3EF34560B22}"/>
          </ac:spMkLst>
        </pc:spChg>
        <pc:spChg chg="mod">
          <ac:chgData name="Janz, Julia" userId="6a64a120-4934-4328-ae96-bff4369aa614" providerId="ADAL" clId="{938AE7AA-7E8E-4278-BEBC-0BD9B4855213}" dt="2024-07-23T07:58:53.546" v="60" actId="20577"/>
          <ac:spMkLst>
            <pc:docMk/>
            <pc:sldMk cId="947185956" sldId="257"/>
            <ac:spMk id="82" creationId="{AE992BE2-5411-6E15-F39F-67FEB574C30B}"/>
          </ac:spMkLst>
        </pc:spChg>
        <pc:cxnChg chg="mod">
          <ac:chgData name="Janz, Julia" userId="6a64a120-4934-4328-ae96-bff4369aa614" providerId="ADAL" clId="{938AE7AA-7E8E-4278-BEBC-0BD9B4855213}" dt="2024-07-23T08:03:56.228" v="85" actId="465"/>
          <ac:cxnSpMkLst>
            <pc:docMk/>
            <pc:sldMk cId="947185956" sldId="257"/>
            <ac:cxnSpMk id="44" creationId="{23431DED-C613-B3DE-D5C9-91658F56FF59}"/>
          </ac:cxnSpMkLst>
        </pc:cxnChg>
        <pc:cxnChg chg="mod">
          <ac:chgData name="Janz, Julia" userId="6a64a120-4934-4328-ae96-bff4369aa614" providerId="ADAL" clId="{938AE7AA-7E8E-4278-BEBC-0BD9B4855213}" dt="2024-07-23T08:03:56.228" v="85" actId="465"/>
          <ac:cxnSpMkLst>
            <pc:docMk/>
            <pc:sldMk cId="947185956" sldId="257"/>
            <ac:cxnSpMk id="47" creationId="{E842F454-C60D-6E51-C817-F3C80501FCAB}"/>
          </ac:cxnSpMkLst>
        </pc:cxnChg>
        <pc:cxnChg chg="mod">
          <ac:chgData name="Janz, Julia" userId="6a64a120-4934-4328-ae96-bff4369aa614" providerId="ADAL" clId="{938AE7AA-7E8E-4278-BEBC-0BD9B4855213}" dt="2024-07-23T08:03:56.228" v="85" actId="465"/>
          <ac:cxnSpMkLst>
            <pc:docMk/>
            <pc:sldMk cId="947185956" sldId="257"/>
            <ac:cxnSpMk id="50" creationId="{10FE3E13-FA48-0731-8DBD-4B32C7B7059C}"/>
          </ac:cxnSpMkLst>
        </pc:cxnChg>
        <pc:cxnChg chg="mod">
          <ac:chgData name="Janz, Julia" userId="6a64a120-4934-4328-ae96-bff4369aa614" providerId="ADAL" clId="{938AE7AA-7E8E-4278-BEBC-0BD9B4855213}" dt="2024-07-23T08:03:56.228" v="85" actId="465"/>
          <ac:cxnSpMkLst>
            <pc:docMk/>
            <pc:sldMk cId="947185956" sldId="257"/>
            <ac:cxnSpMk id="53" creationId="{FBBABB8B-E930-D0B7-6EDC-2282C329B9E1}"/>
          </ac:cxnSpMkLst>
        </pc:cxnChg>
        <pc:cxnChg chg="mod">
          <ac:chgData name="Janz, Julia" userId="6a64a120-4934-4328-ae96-bff4369aa614" providerId="ADAL" clId="{938AE7AA-7E8E-4278-BEBC-0BD9B4855213}" dt="2024-07-23T08:03:35.670" v="84" actId="14100"/>
          <ac:cxnSpMkLst>
            <pc:docMk/>
            <pc:sldMk cId="947185956" sldId="257"/>
            <ac:cxnSpMk id="83" creationId="{56EE6B70-38FE-687F-FC10-70820BF7C247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C9350D-1B19-258D-184C-3C55B8F4C2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C5D5535-02CF-0DD7-C3BE-F7A1F0002D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810603-6EF0-D6F0-1D2A-F31787809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9909D1-9ED9-D284-D054-71C5803D8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D42F9F-7330-C518-2FD9-F9A591848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293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606355-C01E-965C-18C0-606F5A0DF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E659326-B64C-AA64-BFFF-FF4AFC7B69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2D7CC9-8485-4834-0717-F27A179CC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B7CEED-C394-4AF1-48A4-9674A7910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77B9C3-52FE-0383-486F-7FADDE0A3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9700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01C489F-5BCB-2E8D-84A2-945E5F4E98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61A21AC-F45D-E037-9563-95EDCB468B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8BD98E-189E-BD10-12E9-F40AF9B1D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B9BA1B-1843-6DA2-A1D5-B069AFB43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F20287-EACA-8B9A-DD63-72DF66B1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8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9209C6-29FF-3E5A-DAC9-E6E36502E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168055-4E5A-DAD9-3BAD-B08A1578DA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620999B-6ACA-B3F1-F612-110423B2B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58E255-1C12-D9C4-2FC1-9DFAB4B72C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5BB4F6-6F4E-80CA-FE4F-5069054EB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782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92580F-AF87-4DFC-0281-F2676F99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58482FA-505B-678A-36D1-350D3DC2CD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1A36877-116E-3B1D-132D-A1319F957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51385F3-39D0-26BB-D204-8F5783402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6945B5-C23D-488F-9C00-A40462029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6554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378D71-2E0B-6C6F-BFE4-CADA7454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B1071D-2EFD-90A4-BDAD-843B2DB432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7C28C1A-DF81-311E-7E98-A0B39D8CAC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706823B-AAA3-953B-31B8-1A677D225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B6488F0-7AD2-5CC6-6394-442C14025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7F01DE-27A4-6DA1-FF09-8D9FD64A9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61774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33F15A-8009-02DB-BD4A-523604AD6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89BCEE-D3BC-A888-222B-688E7ED40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5D8A740-024C-27C1-D02D-A77C74E2C2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13E485-B545-72E1-20FA-1AF2EB962E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19C2393-46A7-A215-A6FF-DFB57BA3E6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E6749BC-E2AC-D1CA-9D05-EA78CEE6D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27972D4-CA1C-19E8-444A-27C9BD68A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A9077B1-1893-1085-78EC-4EC3D528B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0253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A02E86-6987-2876-175E-71A5FBF3B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0684497-53DA-198D-718F-D4631C650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DD4A90-3DF3-DE31-936A-BACA734F4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F28A1B4-0267-A20A-E601-45BFA7EB3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560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0B34C7B-CD70-6C0B-D767-443F495B8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997646-8B5C-A6B3-5D7D-93066E88B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044C8F-9615-56A9-2932-C096E3DBB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2784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64617B-3AAD-8D22-E456-B70FFD849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981EE04-AC16-6DC2-C35A-BEAE43F6AF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FBB9091-5FDD-7F64-4C77-3DA6FF8B98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E64E1BB-C37D-841C-546C-FE519267B5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026F1AB-62D3-7DEE-12B1-86BD85837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F3B3E1-0E31-B06A-615E-F21057C32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5918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3852D0-61F8-F9C4-11F4-8525CE392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69CF216-D35C-BF52-1A33-11B35F9FB4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839FDF9-6F55-16CC-B5F9-674424157B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F695D4-BC8D-B1B2-5457-1A3801BC89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4B6ED4A-FCFA-83CA-7C34-AD8DB6F8F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715119-0EC8-70C0-421C-C0E29498E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7648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BBB3A73-D0B4-CD2E-9681-F47A306E3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5785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25" imgH="426" progId="TCLayout.ActiveDocument.1">
                  <p:embed/>
                </p:oleObj>
              </mc:Choice>
              <mc:Fallback>
                <p:oleObj name="think-cell Folie" r:id="rId14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BB3A73-D0B4-CD2E-9681-F47A306E3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52D7127-EEE1-993F-B426-22C043B62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2FD452-8B73-01B6-7031-88AD6F0DD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237B601-B7CD-EB6C-C64D-442C31A7CB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AA8E68-BB25-4B22-B520-9DB4DE940F12}" type="datetimeFigureOut">
              <a:rPr lang="de-DE" smtClean="0"/>
              <a:t>23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CC3F0A-D909-1A55-A63F-3D33E5E1E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EF8DA8-0662-8186-AC8D-746A24A6F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B29497-F509-4511-AEE7-5EBD5C8186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2692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902104A-67DB-3EFA-B2D9-EE8511A51B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463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02104A-67DB-3EFA-B2D9-EE8511A51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6062EB0E-87EB-69A9-1F38-C6FBDF987122}"/>
              </a:ext>
            </a:extLst>
          </p:cNvPr>
          <p:cNvSpPr/>
          <p:nvPr/>
        </p:nvSpPr>
        <p:spPr bwMode="gray">
          <a:xfrm>
            <a:off x="110904" y="1563051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</a:t>
            </a: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detects a problem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8D9CAC5-2F1D-055A-62A8-F7AE7CDA2618}"/>
              </a:ext>
            </a:extLst>
          </p:cNvPr>
          <p:cNvSpPr/>
          <p:nvPr/>
        </p:nvSpPr>
        <p:spPr bwMode="gray">
          <a:xfrm>
            <a:off x="110904" y="2554752"/>
            <a:ext cx="3445823" cy="720719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analyzes problem and decides that suppliers and/or customers need to be informed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AFD109E-BB1B-7E8D-2FB0-2D7D19343794}"/>
              </a:ext>
            </a:extLst>
          </p:cNvPr>
          <p:cNvSpPr/>
          <p:nvPr/>
        </p:nvSpPr>
        <p:spPr bwMode="gray">
          <a:xfrm>
            <a:off x="110904" y="3836916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creates a new Supply Chain Disruption Notificatio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79303C0-D0AD-2602-898C-AFB5DC7DE26A}"/>
              </a:ext>
            </a:extLst>
          </p:cNvPr>
          <p:cNvSpPr/>
          <p:nvPr/>
        </p:nvSpPr>
        <p:spPr bwMode="gray">
          <a:xfrm>
            <a:off x="110904" y="4828618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fills out all required parts of the notification (header and message body)</a:t>
            </a:r>
          </a:p>
        </p:txBody>
      </p:sp>
      <p:sp>
        <p:nvSpPr>
          <p:cNvPr id="11" name="Pfeil: Fünfeck 10">
            <a:extLst>
              <a:ext uri="{FF2B5EF4-FFF2-40B4-BE49-F238E27FC236}">
                <a16:creationId xmlns:a16="http://schemas.microsoft.com/office/drawing/2014/main" id="{85C3427F-0D97-125B-212C-8B8F8914C840}"/>
              </a:ext>
            </a:extLst>
          </p:cNvPr>
          <p:cNvSpPr/>
          <p:nvPr/>
        </p:nvSpPr>
        <p:spPr bwMode="gray">
          <a:xfrm>
            <a:off x="990603" y="5631466"/>
            <a:ext cx="1946162" cy="523646"/>
          </a:xfrm>
          <a:prstGeom prst="homePlat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Notification is sent from A to 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B29810D-191C-050A-D48E-3E336DCF519B}"/>
              </a:ext>
            </a:extLst>
          </p:cNvPr>
          <p:cNvSpPr/>
          <p:nvPr/>
        </p:nvSpPr>
        <p:spPr bwMode="gray">
          <a:xfrm>
            <a:off x="4353036" y="1563051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receives Supply Chain Disruption Notification from A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3CAB75A-8F69-11C3-EE5D-FAA172FF1A16}"/>
              </a:ext>
            </a:extLst>
          </p:cNvPr>
          <p:cNvSpPr/>
          <p:nvPr/>
        </p:nvSpPr>
        <p:spPr bwMode="gray">
          <a:xfrm>
            <a:off x="4353035" y="2273432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reviews content and assesses impact on own operation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3C649B1-25FD-5234-A931-B36922059943}"/>
              </a:ext>
            </a:extLst>
          </p:cNvPr>
          <p:cNvSpPr/>
          <p:nvPr/>
        </p:nvSpPr>
        <p:spPr bwMode="gray">
          <a:xfrm>
            <a:off x="4353035" y="2983813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determines that further stakeholders need to be informe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EAF8B28-94ED-7B60-2128-CB457116C643}"/>
              </a:ext>
            </a:extLst>
          </p:cNvPr>
          <p:cNvSpPr/>
          <p:nvPr/>
        </p:nvSpPr>
        <p:spPr bwMode="gray">
          <a:xfrm>
            <a:off x="4353035" y="3694194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creates a new Supply Chain Disruption Notificatio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646F5F1-FFDD-76F0-5271-F3EF34560B22}"/>
              </a:ext>
            </a:extLst>
          </p:cNvPr>
          <p:cNvSpPr/>
          <p:nvPr/>
        </p:nvSpPr>
        <p:spPr bwMode="gray">
          <a:xfrm>
            <a:off x="4353035" y="4404575"/>
            <a:ext cx="3445823" cy="854299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fills out all required parts of the notification (header and message body). Source Notification ID refers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original notifica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CF33BD2-E058-D682-707C-51C549D116C4}"/>
              </a:ext>
            </a:extLst>
          </p:cNvPr>
          <p:cNvSpPr/>
          <p:nvPr/>
        </p:nvSpPr>
        <p:spPr bwMode="gray">
          <a:xfrm>
            <a:off x="8595168" y="1563051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C receives Supply Chain Disruption Notification from B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3FFFD067-5C1F-D3C4-2A4C-3914524E0D16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1833816" y="1993307"/>
            <a:ext cx="0" cy="561445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75D6B0EC-CCC3-7B08-C2DF-37496BB52624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1833816" y="3275471"/>
            <a:ext cx="0" cy="561445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1803DB18-D012-8B85-B7B8-7D8710CE0C90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1833816" y="4267172"/>
            <a:ext cx="0" cy="561446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A6F4FFC8-F460-BFD9-AB3C-8BEA7DF45F65}"/>
              </a:ext>
            </a:extLst>
          </p:cNvPr>
          <p:cNvCxnSpPr>
            <a:cxnSpLocks/>
            <a:stCxn id="7" idx="2"/>
            <a:endCxn id="11" idx="0"/>
          </p:cNvCxnSpPr>
          <p:nvPr/>
        </p:nvCxnSpPr>
        <p:spPr>
          <a:xfrm flipH="1">
            <a:off x="1832773" y="5258874"/>
            <a:ext cx="1043" cy="372592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23431DED-C613-B3DE-D5C9-91658F56FF59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6075947" y="1993307"/>
            <a:ext cx="1" cy="280125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E842F454-C60D-6E51-C817-F3C80501FCAB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>
            <a:off x="6075947" y="2703688"/>
            <a:ext cx="0" cy="280125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10FE3E13-FA48-0731-8DBD-4B32C7B7059C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6075947" y="3414069"/>
            <a:ext cx="0" cy="280125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FBBABB8B-E930-D0B7-6EDC-2282C329B9E1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6075947" y="4124450"/>
            <a:ext cx="0" cy="280125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92068254-20B6-A864-C7E2-878C63CBD68D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 flipV="1">
            <a:off x="2936765" y="1778179"/>
            <a:ext cx="1416271" cy="4115110"/>
          </a:xfrm>
          <a:prstGeom prst="bentConnector3">
            <a:avLst>
              <a:gd name="adj1" fmla="val 72279"/>
            </a:avLst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9" name="Ellipse 78">
            <a:extLst>
              <a:ext uri="{FF2B5EF4-FFF2-40B4-BE49-F238E27FC236}">
                <a16:creationId xmlns:a16="http://schemas.microsoft.com/office/drawing/2014/main" id="{3103C367-DECA-322B-AF3D-BC187DAE4E72}"/>
              </a:ext>
            </a:extLst>
          </p:cNvPr>
          <p:cNvSpPr/>
          <p:nvPr/>
        </p:nvSpPr>
        <p:spPr>
          <a:xfrm>
            <a:off x="1613698" y="869199"/>
            <a:ext cx="438150" cy="43815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46AEC608-A126-A986-1532-950D80A22D79}"/>
              </a:ext>
            </a:extLst>
          </p:cNvPr>
          <p:cNvSpPr/>
          <p:nvPr/>
        </p:nvSpPr>
        <p:spPr>
          <a:xfrm>
            <a:off x="5856871" y="869199"/>
            <a:ext cx="438150" cy="43815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AC867787-7727-257B-8868-4D99C47B422B}"/>
              </a:ext>
            </a:extLst>
          </p:cNvPr>
          <p:cNvSpPr/>
          <p:nvPr/>
        </p:nvSpPr>
        <p:spPr>
          <a:xfrm>
            <a:off x="10100044" y="869199"/>
            <a:ext cx="438150" cy="43815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82" name="Pfeil: Fünfeck 81">
            <a:extLst>
              <a:ext uri="{FF2B5EF4-FFF2-40B4-BE49-F238E27FC236}">
                <a16:creationId xmlns:a16="http://schemas.microsoft.com/office/drawing/2014/main" id="{AE992BE2-5411-6E15-F39F-67FEB574C30B}"/>
              </a:ext>
            </a:extLst>
          </p:cNvPr>
          <p:cNvSpPr/>
          <p:nvPr/>
        </p:nvSpPr>
        <p:spPr bwMode="gray">
          <a:xfrm>
            <a:off x="5234133" y="5631466"/>
            <a:ext cx="1946162" cy="523646"/>
          </a:xfrm>
          <a:prstGeom prst="homePlat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Notification is sent from B to C</a:t>
            </a:r>
          </a:p>
        </p:txBody>
      </p: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56EE6B70-38FE-687F-FC10-70820BF7C247}"/>
              </a:ext>
            </a:extLst>
          </p:cNvPr>
          <p:cNvCxnSpPr>
            <a:cxnSpLocks/>
            <a:stCxn id="16" idx="2"/>
            <a:endCxn id="82" idx="0"/>
          </p:cNvCxnSpPr>
          <p:nvPr/>
        </p:nvCxnSpPr>
        <p:spPr>
          <a:xfrm>
            <a:off x="6075947" y="5258874"/>
            <a:ext cx="356" cy="372592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6" name="Verbinder: gewinkelt 85">
            <a:extLst>
              <a:ext uri="{FF2B5EF4-FFF2-40B4-BE49-F238E27FC236}">
                <a16:creationId xmlns:a16="http://schemas.microsoft.com/office/drawing/2014/main" id="{C609362D-8361-D3ED-D94D-0654E27804A9}"/>
              </a:ext>
            </a:extLst>
          </p:cNvPr>
          <p:cNvCxnSpPr>
            <a:cxnSpLocks/>
            <a:stCxn id="82" idx="3"/>
            <a:endCxn id="21" idx="1"/>
          </p:cNvCxnSpPr>
          <p:nvPr/>
        </p:nvCxnSpPr>
        <p:spPr>
          <a:xfrm flipV="1">
            <a:off x="7180295" y="1778179"/>
            <a:ext cx="1414873" cy="4115110"/>
          </a:xfrm>
          <a:prstGeom prst="bentConnector3">
            <a:avLst>
              <a:gd name="adj1" fmla="val 72301"/>
            </a:avLst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7185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6062EB0E-87EB-69A9-1F38-C6FBDF987122}"/>
              </a:ext>
            </a:extLst>
          </p:cNvPr>
          <p:cNvSpPr/>
          <p:nvPr/>
        </p:nvSpPr>
        <p:spPr bwMode="gray">
          <a:xfrm>
            <a:off x="110904" y="761771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</a:t>
            </a:r>
            <a:r>
              <a:rPr lang="de-DE" sz="1400" kern="0" dirty="0">
                <a:ea typeface="Arial Unicode MS" pitchFamily="34" charset="-128"/>
                <a:cs typeface="Arial Unicode MS" pitchFamily="34" charset="-128"/>
              </a:rPr>
              <a:t>hat ein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 Problem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8D9CAC5-2F1D-055A-62A8-F7AE7CDA2618}"/>
              </a:ext>
            </a:extLst>
          </p:cNvPr>
          <p:cNvSpPr/>
          <p:nvPr/>
        </p:nvSpPr>
        <p:spPr bwMode="gray">
          <a:xfrm>
            <a:off x="110904" y="1494578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identifiziert das Problem (z.B. betroffenes Material &amp; BP)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AFD109E-BB1B-7E8D-2FB0-2D7D19343794}"/>
              </a:ext>
            </a:extLst>
          </p:cNvPr>
          <p:cNvSpPr/>
          <p:nvPr/>
        </p:nvSpPr>
        <p:spPr bwMode="gray">
          <a:xfrm>
            <a:off x="110904" y="2227385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entscheidet das Problem zu meld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79303C0-D0AD-2602-898C-AFB5DC7DE26A}"/>
              </a:ext>
            </a:extLst>
          </p:cNvPr>
          <p:cNvSpPr/>
          <p:nvPr/>
        </p:nvSpPr>
        <p:spPr bwMode="gray">
          <a:xfrm>
            <a:off x="110904" y="2943259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macht eine Nachricht auf (WO?/ Was muss getan werden?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827B6B6-2781-D807-5549-F6D27717743B}"/>
              </a:ext>
            </a:extLst>
          </p:cNvPr>
          <p:cNvSpPr/>
          <p:nvPr/>
        </p:nvSpPr>
        <p:spPr bwMode="gray">
          <a:xfrm>
            <a:off x="110904" y="3676066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befüllt Kopffelder mit Info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E4C403F-413E-02A2-72EA-F1F997F50318}"/>
              </a:ext>
            </a:extLst>
          </p:cNvPr>
          <p:cNvSpPr/>
          <p:nvPr/>
        </p:nvSpPr>
        <p:spPr bwMode="gray">
          <a:xfrm>
            <a:off x="110904" y="4425804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befüllt Message Body mit Info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C992268-705A-607D-9E4F-153267CA2634}"/>
              </a:ext>
            </a:extLst>
          </p:cNvPr>
          <p:cNvSpPr/>
          <p:nvPr/>
        </p:nvSpPr>
        <p:spPr bwMode="gray">
          <a:xfrm>
            <a:off x="110904" y="5171559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 drückt die Taste „senden“</a:t>
            </a:r>
          </a:p>
        </p:txBody>
      </p:sp>
      <p:sp>
        <p:nvSpPr>
          <p:cNvPr id="11" name="Pfeil: Fünfeck 10">
            <a:extLst>
              <a:ext uri="{FF2B5EF4-FFF2-40B4-BE49-F238E27FC236}">
                <a16:creationId xmlns:a16="http://schemas.microsoft.com/office/drawing/2014/main" id="{85C3427F-0D97-125B-212C-8B8F8914C840}"/>
              </a:ext>
            </a:extLst>
          </p:cNvPr>
          <p:cNvSpPr/>
          <p:nvPr/>
        </p:nvSpPr>
        <p:spPr bwMode="gray">
          <a:xfrm>
            <a:off x="990603" y="5820005"/>
            <a:ext cx="1946162" cy="523646"/>
          </a:xfrm>
          <a:prstGeom prst="homePlat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Nachricht von A wird an B übertrag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B29810D-191C-050A-D48E-3E336DCF519B}"/>
              </a:ext>
            </a:extLst>
          </p:cNvPr>
          <p:cNvSpPr/>
          <p:nvPr/>
        </p:nvSpPr>
        <p:spPr bwMode="gray">
          <a:xfrm>
            <a:off x="4353036" y="761771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empfängt die Nachricht (WO kommt die Nachricht an?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3CAB75A-8F69-11C3-EE5D-FAA172FF1A16}"/>
              </a:ext>
            </a:extLst>
          </p:cNvPr>
          <p:cNvSpPr/>
          <p:nvPr/>
        </p:nvSpPr>
        <p:spPr bwMode="gray">
          <a:xfrm>
            <a:off x="4353035" y="1350955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verarbeitet die Nachrich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3C649B1-25FD-5234-A931-B36922059943}"/>
              </a:ext>
            </a:extLst>
          </p:cNvPr>
          <p:cNvSpPr/>
          <p:nvPr/>
        </p:nvSpPr>
        <p:spPr bwMode="gray">
          <a:xfrm>
            <a:off x="4353035" y="1940139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erkennt das Proble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EAF8B28-94ED-7B60-2128-CB457116C643}"/>
              </a:ext>
            </a:extLst>
          </p:cNvPr>
          <p:cNvSpPr/>
          <p:nvPr/>
        </p:nvSpPr>
        <p:spPr bwMode="gray">
          <a:xfrm>
            <a:off x="4353035" y="2529323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entscheidet das Problem weiterzugeben an seinen Partner C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646F5F1-FFDD-76F0-5271-F3EF34560B22}"/>
              </a:ext>
            </a:extLst>
          </p:cNvPr>
          <p:cNvSpPr/>
          <p:nvPr/>
        </p:nvSpPr>
        <p:spPr bwMode="gray">
          <a:xfrm>
            <a:off x="4353035" y="3118507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macht eine neue Nachricht auf (WO?/ Was muss getan werden?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E390640-6A5B-7250-6A2E-AE3CAAD2ED11}"/>
              </a:ext>
            </a:extLst>
          </p:cNvPr>
          <p:cNvSpPr/>
          <p:nvPr/>
        </p:nvSpPr>
        <p:spPr bwMode="gray">
          <a:xfrm>
            <a:off x="4353035" y="3707691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befüllt Kopffelder mit Info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EBCB020-5E97-79D3-013E-BE45ECB9202E}"/>
              </a:ext>
            </a:extLst>
          </p:cNvPr>
          <p:cNvSpPr/>
          <p:nvPr/>
        </p:nvSpPr>
        <p:spPr bwMode="gray">
          <a:xfrm>
            <a:off x="4353035" y="4296875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befüllt Message Body mit Info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AA4FA73-D322-80B9-7789-19FA54A1E431}"/>
              </a:ext>
            </a:extLst>
          </p:cNvPr>
          <p:cNvSpPr/>
          <p:nvPr/>
        </p:nvSpPr>
        <p:spPr bwMode="gray">
          <a:xfrm>
            <a:off x="4353035" y="4886059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verweist mit einer UID auf ursprüngliche Nachricht/ Urnachricht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2B3C729-812C-351D-CC46-8B53FC2F9DE4}"/>
              </a:ext>
            </a:extLst>
          </p:cNvPr>
          <p:cNvSpPr/>
          <p:nvPr/>
        </p:nvSpPr>
        <p:spPr bwMode="gray">
          <a:xfrm>
            <a:off x="4353035" y="5475245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B drückt die Taste „senden“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CF33BD2-E058-D682-707C-51C549D116C4}"/>
              </a:ext>
            </a:extLst>
          </p:cNvPr>
          <p:cNvSpPr/>
          <p:nvPr/>
        </p:nvSpPr>
        <p:spPr bwMode="gray">
          <a:xfrm>
            <a:off x="8595168" y="761771"/>
            <a:ext cx="3445823" cy="430256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Nachricht von B wird an C übertragen  (WO kommt die Nachricht an?)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3FFFD067-5C1F-D3C4-2A4C-3914524E0D16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1833816" y="1192027"/>
            <a:ext cx="0" cy="30255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75D6B0EC-CCC3-7B08-C2DF-37496BB52624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1833816" y="1924834"/>
            <a:ext cx="0" cy="30255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1803DB18-D012-8B85-B7B8-7D8710CE0C90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1833816" y="2657641"/>
            <a:ext cx="0" cy="28561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E300E8EB-7666-D850-CCF0-909CF402FE7D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833816" y="3373515"/>
            <a:ext cx="0" cy="302551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21250258-BC87-C0A8-CAD5-CD9C8467F022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>
            <a:off x="1833816" y="4106322"/>
            <a:ext cx="0" cy="319482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EBE0E5B-FB6B-DA6A-3C06-FD925AD44FB5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>
            <a:off x="1833816" y="4856060"/>
            <a:ext cx="0" cy="315499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A6F4FFC8-F460-BFD9-AB3C-8BEA7DF45F65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flipH="1">
            <a:off x="1832773" y="5601815"/>
            <a:ext cx="1043" cy="218190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23431DED-C613-B3DE-D5C9-91658F56FF59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6075947" y="1192027"/>
            <a:ext cx="1" cy="15892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E842F454-C60D-6E51-C817-F3C80501FCAB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>
            <a:off x="6075947" y="1781211"/>
            <a:ext cx="0" cy="15892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10FE3E13-FA48-0731-8DBD-4B32C7B7059C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6075947" y="2370395"/>
            <a:ext cx="0" cy="15892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FBBABB8B-E930-D0B7-6EDC-2282C329B9E1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6075947" y="2959579"/>
            <a:ext cx="0" cy="15892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DD439C4D-5891-3FAE-433C-5BDE8E34103F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>
            <a:off x="6075947" y="3548763"/>
            <a:ext cx="0" cy="15892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CFBCD060-8F39-DDD5-979F-69ABDC38E222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6075947" y="4137947"/>
            <a:ext cx="0" cy="15892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3C8F4E8-7646-166D-4E7E-FBCA7D6A37E9}"/>
              </a:ext>
            </a:extLst>
          </p:cNvPr>
          <p:cNvCxnSpPr>
            <a:cxnSpLocks/>
            <a:stCxn id="18" idx="2"/>
            <a:endCxn id="19" idx="0"/>
          </p:cNvCxnSpPr>
          <p:nvPr/>
        </p:nvCxnSpPr>
        <p:spPr>
          <a:xfrm>
            <a:off x="6075947" y="4727131"/>
            <a:ext cx="0" cy="15892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1BFC7700-DF9A-6C04-3A29-4FCF880E9F75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>
          <a:xfrm>
            <a:off x="6075947" y="5316315"/>
            <a:ext cx="0" cy="15893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92068254-20B6-A864-C7E2-878C63CBD68D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 flipV="1">
            <a:off x="2936765" y="976899"/>
            <a:ext cx="1416271" cy="5104929"/>
          </a:xfrm>
          <a:prstGeom prst="bentConnector3">
            <a:avLst>
              <a:gd name="adj1" fmla="val 72866"/>
            </a:avLst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9" name="Ellipse 78">
            <a:extLst>
              <a:ext uri="{FF2B5EF4-FFF2-40B4-BE49-F238E27FC236}">
                <a16:creationId xmlns:a16="http://schemas.microsoft.com/office/drawing/2014/main" id="{3103C367-DECA-322B-AF3D-BC187DAE4E72}"/>
              </a:ext>
            </a:extLst>
          </p:cNvPr>
          <p:cNvSpPr/>
          <p:nvPr/>
        </p:nvSpPr>
        <p:spPr>
          <a:xfrm>
            <a:off x="1613698" y="124481"/>
            <a:ext cx="438150" cy="43815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</a:t>
            </a: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46AEC608-A126-A986-1532-950D80A22D79}"/>
              </a:ext>
            </a:extLst>
          </p:cNvPr>
          <p:cNvSpPr/>
          <p:nvPr/>
        </p:nvSpPr>
        <p:spPr>
          <a:xfrm>
            <a:off x="5856871" y="124481"/>
            <a:ext cx="438150" cy="43815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</a:t>
            </a: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AC867787-7727-257B-8868-4D99C47B422B}"/>
              </a:ext>
            </a:extLst>
          </p:cNvPr>
          <p:cNvSpPr/>
          <p:nvPr/>
        </p:nvSpPr>
        <p:spPr>
          <a:xfrm>
            <a:off x="10100044" y="124481"/>
            <a:ext cx="438150" cy="43815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</a:t>
            </a:r>
          </a:p>
        </p:txBody>
      </p:sp>
      <p:sp>
        <p:nvSpPr>
          <p:cNvPr id="82" name="Pfeil: Fünfeck 81">
            <a:extLst>
              <a:ext uri="{FF2B5EF4-FFF2-40B4-BE49-F238E27FC236}">
                <a16:creationId xmlns:a16="http://schemas.microsoft.com/office/drawing/2014/main" id="{AE992BE2-5411-6E15-F39F-67FEB574C30B}"/>
              </a:ext>
            </a:extLst>
          </p:cNvPr>
          <p:cNvSpPr/>
          <p:nvPr/>
        </p:nvSpPr>
        <p:spPr bwMode="gray">
          <a:xfrm>
            <a:off x="5227694" y="6091354"/>
            <a:ext cx="1946162" cy="523646"/>
          </a:xfrm>
          <a:prstGeom prst="homePlate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Nachricht von B wird an C übertragen</a:t>
            </a:r>
          </a:p>
        </p:txBody>
      </p: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56EE6B70-38FE-687F-FC10-70820BF7C247}"/>
              </a:ext>
            </a:extLst>
          </p:cNvPr>
          <p:cNvCxnSpPr>
            <a:cxnSpLocks/>
            <a:stCxn id="20" idx="2"/>
            <a:endCxn id="82" idx="0"/>
          </p:cNvCxnSpPr>
          <p:nvPr/>
        </p:nvCxnSpPr>
        <p:spPr>
          <a:xfrm flipH="1">
            <a:off x="6069864" y="5905501"/>
            <a:ext cx="6083" cy="185853"/>
          </a:xfrm>
          <a:prstGeom prst="straightConnector1">
            <a:avLst/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6" name="Verbinder: gewinkelt 85">
            <a:extLst>
              <a:ext uri="{FF2B5EF4-FFF2-40B4-BE49-F238E27FC236}">
                <a16:creationId xmlns:a16="http://schemas.microsoft.com/office/drawing/2014/main" id="{C609362D-8361-D3ED-D94D-0654E27804A9}"/>
              </a:ext>
            </a:extLst>
          </p:cNvPr>
          <p:cNvCxnSpPr>
            <a:cxnSpLocks/>
            <a:stCxn id="82" idx="3"/>
            <a:endCxn id="21" idx="1"/>
          </p:cNvCxnSpPr>
          <p:nvPr/>
        </p:nvCxnSpPr>
        <p:spPr>
          <a:xfrm flipV="1">
            <a:off x="7173856" y="976899"/>
            <a:ext cx="1421312" cy="5376278"/>
          </a:xfrm>
          <a:prstGeom prst="bentConnector3">
            <a:avLst>
              <a:gd name="adj1" fmla="val 72785"/>
            </a:avLst>
          </a:prstGeom>
          <a:ln w="19050">
            <a:headEnd type="none" w="med" len="med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404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42f7676c-f455-423c-82f6-dc2d99791af7}" enabled="0" method="" siteId="{42f7676c-f455-423c-82f6-dc2d99791af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9</Words>
  <Application>Microsoft Office PowerPoint</Application>
  <PresentationFormat>Breitbild</PresentationFormat>
  <Paragraphs>3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</vt:lpstr>
      <vt:lpstr>think-cell Foli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anz, Julia</dc:creator>
  <cp:lastModifiedBy>Janz, Julia</cp:lastModifiedBy>
  <cp:revision>2</cp:revision>
  <dcterms:created xsi:type="dcterms:W3CDTF">2023-08-16T12:28:50Z</dcterms:created>
  <dcterms:modified xsi:type="dcterms:W3CDTF">2024-07-23T08:04:14Z</dcterms:modified>
</cp:coreProperties>
</file>